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63C895ED-C874-4280-BBAB-0D61DCB639A3}">
          <p14:sldIdLst>
            <p14:sldId id="2147475173"/>
            <p14:sldId id="2147475174"/>
            <p14:sldId id="2147475175"/>
            <p14:sldId id="2147475176"/>
            <p14:sldId id="2147475177"/>
            <p14:sldId id="2147475178"/>
            <p14:sldId id="2147475179"/>
            <p14:sldId id="2147475180"/>
            <p14:sldId id="2147475181"/>
          </p14:sldIdLst>
        </p14:section>
        <p14:section name="Brackets By Sector" id="{31D2553C-C7AE-4C61-82DF-F95D0BE39924}">
          <p14:sldIdLst>
            <p14:sldId id="2147475182"/>
            <p14:sldId id="2147475183"/>
            <p14:sldId id="2147475184"/>
            <p14:sldId id="2147475185"/>
            <p14:sldId id="2147475186"/>
            <p14:sldId id="2147475187"/>
            <p14:sldId id="2147475188"/>
            <p14:sldId id="2147475189"/>
            <p14:sldId id="2147475190"/>
          </p14:sldIdLst>
        </p14:section>
        <p14:section name="Brackets By Segment" id="{7F394B52-6439-4570-9244-E32C1B17CAEB}">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6</c:v>
                </c:pt>
                <c:pt idx="1">
                  <c:v>0.07372302786498092</c:v>
                </c:pt>
                <c:pt idx="2">
                  <c:v>0.12766201692065168</c:v>
                </c:pt>
                <c:pt idx="3">
                  <c:v>0.23425237068395854</c:v>
                </c:pt>
                <c:pt idx="4">
                  <c:v>0.3827873306191498</c:v>
                </c:pt>
                <c:pt idx="5">
                  <c:v>0.15359411735454917</c:v>
                </c:pt>
                <c:pt idx="6">
                  <c:v>0.00086017315089557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129154532006021</c:v>
                </c:pt>
                <c:pt idx="3">
                  <c:v>0.001504742631272532</c:v>
                </c:pt>
                <c:pt idx="4">
                  <c:v>0.006295989923369062</c:v>
                </c:pt>
                <c:pt idx="5">
                  <c:v>0.004702969750242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3177561024199167</c:v>
                </c:pt>
                <c:pt idx="1">
                  <c:v>0.032027653167575096</c:v>
                </c:pt>
                <c:pt idx="2">
                  <c:v>0.0023524044420734705</c:v>
                </c:pt>
                <c:pt idx="3">
                  <c:v>0.38242026159328435</c:v>
                </c:pt>
                <c:pt idx="4">
                  <c:v>0.5674749628622517</c:v>
                </c:pt>
                <c:pt idx="5">
                  <c:v>0.0144069618323955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172271858072901</c:v>
                </c:pt>
                <c:pt idx="4">
                  <c:v>0.0369121035542874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3</c:v>
                </c:pt>
                <c:pt idx="1">
                  <c:v>0.04045312405217708</c:v>
                </c:pt>
                <c:pt idx="2">
                  <c:v>0.12468065232928348</c:v>
                </c:pt>
                <c:pt idx="3">
                  <c:v>0.2406692975746519</c:v>
                </c:pt>
                <c:pt idx="4">
                  <c:v>0.4235016609865862</c:v>
                </c:pt>
                <c:pt idx="5">
                  <c:v>0.16609207976541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7543291482773286</c:v>
                </c:pt>
                <c:pt idx="2">
                  <c:v>0.008665182825658672</c:v>
                </c:pt>
                <c:pt idx="3">
                  <c:v>0.001076612885380411</c:v>
                </c:pt>
                <c:pt idx="4">
                  <c:v>0.010776193913363263</c:v>
                </c:pt>
                <c:pt idx="5">
                  <c:v>0.00227951603229097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c:v>
                </c:pt>
                <c:pt idx="6">
                  <c:v>0.00745574143026797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133835699403206</c:v>
                </c:pt>
                <c:pt idx="1">
                  <c:v>0.019618191826917</c:v>
                </c:pt>
                <c:pt idx="2">
                  <c:v>0.0007402755160323117</c:v>
                </c:pt>
                <c:pt idx="3">
                  <c:v>0.3297295060960825</c:v>
                </c:pt>
                <c:pt idx="4">
                  <c:v>0.6455594961322717</c:v>
                </c:pt>
                <c:pt idx="5">
                  <c:v>0.00363914685875637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998279604987192</c:v>
                </c:pt>
                <c:pt idx="4">
                  <c:v>0.0926966531019400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323993457447819</c:v>
                </c:pt>
                <c:pt idx="1">
                  <c:v>0.03625329601705895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3167420955609284</c:v>
                </c:pt>
                <c:pt idx="2">
                  <c:v>0.008577681317414165</c:v>
                </c:pt>
                <c:pt idx="3">
                  <c:v>0.0036944762042968125</c:v>
                </c:pt>
                <c:pt idx="4">
                  <c:v>0.01312996370238396</c:v>
                </c:pt>
                <c:pt idx="5">
                  <c:v>0.00080066820486395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301481157091</c:v>
                </c:pt>
                <c:pt idx="4">
                  <c:v>0.03188640169921914</c:v>
                </c:pt>
                <c:pt idx="5">
                  <c:v>0.452583450185071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965406986938915</c:v>
                </c:pt>
                <c:pt idx="1">
                  <c:v>0.04895259664109439</c:v>
                </c:pt>
                <c:pt idx="2">
                  <c:v>0.002253973688354901</c:v>
                </c:pt>
                <c:pt idx="3">
                  <c:v>0.4750172003568851</c:v>
                </c:pt>
                <c:pt idx="4">
                  <c:v>0.4559770023859208</c:v>
                </c:pt>
                <c:pt idx="5">
                  <c:v>0.01590268622905085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7894799189421</c:v>
                </c:pt>
                <c:pt idx="1">
                  <c:v>0.038221977250803986</c:v>
                </c:pt>
                <c:pt idx="2">
                  <c:v>0.1280426136348649</c:v>
                </c:pt>
                <c:pt idx="3">
                  <c:v>0.2579541169363222</c:v>
                </c:pt>
                <c:pt idx="4">
                  <c:v>0.411492596077833</c:v>
                </c:pt>
                <c:pt idx="5">
                  <c:v>0.1586641888200512</c:v>
                </c:pt>
                <c:pt idx="6">
                  <c:v>0.000766612480935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290960806405704</c:v>
                </c:pt>
                <c:pt idx="4">
                  <c:v>0.01030526546308852</c:v>
                </c:pt>
                <c:pt idx="5">
                  <c:v>0.005091109390956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546925599385</c:v>
                </c:pt>
                <c:pt idx="4">
                  <c:v>0.025019581296125446</c:v>
                </c:pt>
                <c:pt idx="5">
                  <c:v>0.4751189735737091</c:v>
                </c:pt>
                <c:pt idx="6">
                  <c:v>0.0021541883268715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871734443266597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3177561024199167</c:v>
                </c:pt>
                <c:pt idx="1">
                  <c:v>0.032027653167575096</c:v>
                </c:pt>
                <c:pt idx="2">
                  <c:v>0.0023524044420734705</c:v>
                </c:pt>
                <c:pt idx="3">
                  <c:v>0.38242026159328435</c:v>
                </c:pt>
                <c:pt idx="4">
                  <c:v>0.5674749628622517</c:v>
                </c:pt>
                <c:pt idx="5">
                  <c:v>0.0144069618323955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184887482278309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3</c:v>
                </c:pt>
                <c:pt idx="1">
                  <c:v>0.04045312405217708</c:v>
                </c:pt>
                <c:pt idx="2">
                  <c:v>0.12468065232928348</c:v>
                </c:pt>
                <c:pt idx="3">
                  <c:v>0.2406692975746519</c:v>
                </c:pt>
                <c:pt idx="4">
                  <c:v>0.4235016609865862</c:v>
                </c:pt>
                <c:pt idx="5">
                  <c:v>0.16609207976541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3027397924249747</c:v>
                </c:pt>
                <c:pt idx="4">
                  <c:v>0.010885058477386517</c:v>
                </c:pt>
                <c:pt idx="5">
                  <c:v>0.00650055634762468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c:v>
                </c:pt>
                <c:pt idx="6">
                  <c:v>0.00745574143026797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95188213053512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133835699403206</c:v>
                </c:pt>
                <c:pt idx="1">
                  <c:v>0.019618191826917</c:v>
                </c:pt>
                <c:pt idx="2">
                  <c:v>0.0007402755160323117</c:v>
                </c:pt>
                <c:pt idx="3">
                  <c:v>0.3297295060960825</c:v>
                </c:pt>
                <c:pt idx="4">
                  <c:v>0.6455594961322717</c:v>
                </c:pt>
                <c:pt idx="5">
                  <c:v>0.00363914685875637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2189429626420302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323993457447819</c:v>
                </c:pt>
                <c:pt idx="1">
                  <c:v>0.03625329601705895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603830958769038</c:v>
                </c:pt>
                <c:pt idx="4">
                  <c:v>0.014303879708351728</c:v>
                </c:pt>
                <c:pt idx="5">
                  <c:v>0.00723777422944922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301481157091</c:v>
                </c:pt>
                <c:pt idx="4">
                  <c:v>0.03188640169921914</c:v>
                </c:pt>
                <c:pt idx="5">
                  <c:v>0.452583450185071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1121405586234327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965406986938915</c:v>
                </c:pt>
                <c:pt idx="1">
                  <c:v>0.04895259664109439</c:v>
                </c:pt>
                <c:pt idx="2">
                  <c:v>0.002253973688354901</c:v>
                </c:pt>
                <c:pt idx="3">
                  <c:v>0.4750172003568851</c:v>
                </c:pt>
                <c:pt idx="4">
                  <c:v>0.4559770023859208</c:v>
                </c:pt>
                <c:pt idx="5">
                  <c:v>0.01590268622905085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202286355530656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5233206825432513</c:v>
                </c:pt>
                <c:pt idx="3">
                  <c:v>0.024515348950153868</c:v>
                </c:pt>
                <c:pt idx="4">
                  <c:v>0.0851797485150551</c:v>
                </c:pt>
                <c:pt idx="5">
                  <c:v>0.0396119252888557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031289228933701</c:v>
                </c:pt>
                <c:pt idx="2">
                  <c:v>0.04113774758224254</c:v>
                </c:pt>
                <c:pt idx="3">
                  <c:v>0.3135524160400494</c:v>
                </c:pt>
                <c:pt idx="4">
                  <c:v>0.5522086271420409</c:v>
                </c:pt>
                <c:pt idx="5">
                  <c:v>0.062771316427937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437126072285106</c:v>
                </c:pt>
                <c:pt idx="5">
                  <c:v>0.00436932473140516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546000868461034</c:v>
                </c:pt>
                <c:pt idx="1">
                  <c:v>0.00791278513556478</c:v>
                </c:pt>
                <c:pt idx="2">
                  <c:v>0.09883345181438238</c:v>
                </c:pt>
                <c:pt idx="3">
                  <c:v>0.1141714758048413</c:v>
                </c:pt>
                <c:pt idx="4">
                  <c:v>0.38273698753851865</c:v>
                </c:pt>
                <c:pt idx="5">
                  <c:v>0.393290699619846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65385076760837</c:v>
                </c:pt>
                <c:pt idx="1">
                  <c:v>0.06769019309011845</c:v>
                </c:pt>
                <c:pt idx="2">
                  <c:v>0.2155827171638198</c:v>
                </c:pt>
                <c:pt idx="3">
                  <c:v>0.48406983154121125</c:v>
                </c:pt>
                <c:pt idx="4">
                  <c:v>0.20698825809317256</c:v>
                </c:pt>
                <c:pt idx="5">
                  <c:v>0.010503615034917101</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854810004802424</c:v>
                </c:pt>
                <c:pt idx="2">
                  <c:v>0.06537184466726872</c:v>
                </c:pt>
                <c:pt idx="3">
                  <c:v>0.1828590572542862</c:v>
                </c:pt>
                <c:pt idx="4">
                  <c:v>0.5880937669185049</c:v>
                </c:pt>
                <c:pt idx="5">
                  <c:v>0.1576957924175024</c:v>
                </c:pt>
                <c:pt idx="6">
                  <c:v>0.0039705354657473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1365210675183357</c:v>
                </c:pt>
                <c:pt idx="2">
                  <c:v>0.004849806229544707</c:v>
                </c:pt>
                <c:pt idx="3">
                  <c:v>0.030614134196544008</c:v>
                </c:pt>
                <c:pt idx="4">
                  <c:v>0.890216997399391</c:v>
                </c:pt>
                <c:pt idx="5">
                  <c:v>0.07281595130021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51968708637001</c:v>
                </c:pt>
                <c:pt idx="1">
                  <c:v>0.15610494674537898</c:v>
                </c:pt>
                <c:pt idx="2">
                  <c:v>0.024983151768837048</c:v>
                </c:pt>
                <c:pt idx="3">
                  <c:v>0.3324132269959514</c:v>
                </c:pt>
                <c:pt idx="4">
                  <c:v>0.44155358609005096</c:v>
                </c:pt>
                <c:pt idx="5">
                  <c:v>0.01542199906740249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7044196561462505</c:v>
                </c:pt>
                <c:pt idx="2">
                  <c:v>0.217137692707676</c:v>
                </c:pt>
                <c:pt idx="3">
                  <c:v>0.1276742657727075</c:v>
                </c:pt>
                <c:pt idx="4">
                  <c:v>0.26640736095684486</c:v>
                </c:pt>
                <c:pt idx="5">
                  <c:v>0.2176558469385782</c:v>
                </c:pt>
                <c:pt idx="6">
                  <c:v>0.00068194524330137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787004175139863</c:v>
                </c:pt>
                <c:pt idx="3">
                  <c:v>0.01932140439824797</c:v>
                </c:pt>
                <c:pt idx="4">
                  <c:v>0.07178276387539519</c:v>
                </c:pt>
                <c:pt idx="5">
                  <c:v>0.0528471806365719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086666246411881</c:v>
                </c:pt>
                <c:pt idx="2">
                  <c:v>0.045633021875691224</c:v>
                </c:pt>
                <c:pt idx="3">
                  <c:v>0.26062695908238875</c:v>
                </c:pt>
                <c:pt idx="4">
                  <c:v>0.5938757410843922</c:v>
                </c:pt>
                <c:pt idx="5">
                  <c:v>0.058987456109473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7720050625362799</c:v>
                </c:pt>
                <c:pt idx="5">
                  <c:v>0.006425403785250638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2354420050404</c:v>
                </c:pt>
                <c:pt idx="1">
                  <c:v>0.0018876754315294744</c:v>
                </c:pt>
                <c:pt idx="2">
                  <c:v>0.09224108918713539</c:v>
                </c:pt>
                <c:pt idx="3">
                  <c:v>0.11466792141021989</c:v>
                </c:pt>
                <c:pt idx="4">
                  <c:v>0.44252273603449555</c:v>
                </c:pt>
                <c:pt idx="5">
                  <c:v>0.344318223516569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36538655618517</c:v>
                </c:pt>
                <c:pt idx="1">
                  <c:v>0.04605500468565433</c:v>
                </c:pt>
                <c:pt idx="2">
                  <c:v>0.19655397261270163</c:v>
                </c:pt>
                <c:pt idx="3">
                  <c:v>0.4990306345942146</c:v>
                </c:pt>
                <c:pt idx="4">
                  <c:v>0.2321074461869639</c:v>
                </c:pt>
                <c:pt idx="5">
                  <c:v>0.0138875553642803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9202668363358737</c:v>
                </c:pt>
                <c:pt idx="2">
                  <c:v>0.0890529308105966</c:v>
                </c:pt>
                <c:pt idx="3">
                  <c:v>0.14613885589858222</c:v>
                </c:pt>
                <c:pt idx="4">
                  <c:v>0.5664460395056516</c:v>
                </c:pt>
                <c:pt idx="5">
                  <c:v>0.19549927143426438</c:v>
                </c:pt>
                <c:pt idx="6">
                  <c:v>0.00081053550458520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c:v>
                </c:pt>
                <c:pt idx="1">
                  <c:v>0.08802916312742415</c:v>
                </c:pt>
                <c:pt idx="2">
                  <c:v>0.14284168638962264</c:v>
                </c:pt>
                <c:pt idx="3">
                  <c:v>0.2219738465628237</c:v>
                </c:pt>
                <c:pt idx="4">
                  <c:v>0.36551887254863047</c:v>
                </c:pt>
                <c:pt idx="5">
                  <c:v>0.1485237048277909</c:v>
                </c:pt>
                <c:pt idx="6">
                  <c:v>0.00389079971904916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976686502865877</c:v>
                </c:pt>
                <c:pt idx="1">
                  <c:v>0.0014491880932194251</c:v>
                </c:pt>
                <c:pt idx="2">
                  <c:v>0.004457696094131803</c:v>
                </c:pt>
                <c:pt idx="3">
                  <c:v>0.03027714526455764</c:v>
                </c:pt>
                <c:pt idx="4">
                  <c:v>0.8383955071465904</c:v>
                </c:pt>
                <c:pt idx="5">
                  <c:v>0.12472279475121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295936018988206</c:v>
                </c:pt>
                <c:pt idx="1">
                  <c:v>0.1593720711737192</c:v>
                </c:pt>
                <c:pt idx="2">
                  <c:v>0.03768448825783814</c:v>
                </c:pt>
                <c:pt idx="3">
                  <c:v>0.2611292142986364</c:v>
                </c:pt>
                <c:pt idx="4">
                  <c:v>0.46450291190561643</c:v>
                </c:pt>
                <c:pt idx="5">
                  <c:v>0.01435125678176883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902539055901118</c:v>
                </c:pt>
                <c:pt idx="2">
                  <c:v>0.19501182742892956</c:v>
                </c:pt>
                <c:pt idx="3">
                  <c:v>0.19221661010637114</c:v>
                </c:pt>
                <c:pt idx="4">
                  <c:v>0.330662738462675</c:v>
                </c:pt>
                <c:pt idx="5">
                  <c:v>0.182706481481457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526041463350669</c:v>
                </c:pt>
                <c:pt idx="3">
                  <c:v>0.033856581368870375</c:v>
                </c:pt>
                <c:pt idx="4">
                  <c:v>0.08502524402054405</c:v>
                </c:pt>
                <c:pt idx="5">
                  <c:v>0.043739947302331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4731325297527232</c:v>
                </c:pt>
                <c:pt idx="2">
                  <c:v>0.06817713002383922</c:v>
                </c:pt>
                <c:pt idx="3">
                  <c:v>0.30918181313914184</c:v>
                </c:pt>
                <c:pt idx="4">
                  <c:v>0.5489585060174869</c:v>
                </c:pt>
                <c:pt idx="5">
                  <c:v>0.0588440231994877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28467978089494776</c:v>
                </c:pt>
                <c:pt idx="3">
                  <c:v>0.001832228985249577</c:v>
                </c:pt>
                <c:pt idx="4">
                  <c:v>0.004806538439918062</c:v>
                </c:pt>
                <c:pt idx="5">
                  <c:v>0.002732139120037946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30404936380131753</c:v>
                </c:pt>
                <c:pt idx="5">
                  <c:v>0.0054091018508373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682222764157067</c:v>
                </c:pt>
                <c:pt idx="1">
                  <c:v>0.0007894530589861859</c:v>
                </c:pt>
                <c:pt idx="2">
                  <c:v>0.09025210318535143</c:v>
                </c:pt>
                <c:pt idx="3">
                  <c:v>0.1171313557101295</c:v>
                </c:pt>
                <c:pt idx="4">
                  <c:v>0.3902805199785044</c:v>
                </c:pt>
                <c:pt idx="5">
                  <c:v>0.40047834579061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5301996601009916</c:v>
                </c:pt>
                <c:pt idx="1">
                  <c:v>0.07112602587893538</c:v>
                </c:pt>
                <c:pt idx="2">
                  <c:v>0.23033524417359652</c:v>
                </c:pt>
                <c:pt idx="3">
                  <c:v>0.46134285060537805</c:v>
                </c:pt>
                <c:pt idx="4">
                  <c:v>0.197167325280257</c:v>
                </c:pt>
                <c:pt idx="5">
                  <c:v>0.01472655746082315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2942843330246545</c:v>
                </c:pt>
                <c:pt idx="2">
                  <c:v>0.09750663945696489</c:v>
                </c:pt>
                <c:pt idx="3">
                  <c:v>0.19168329326666833</c:v>
                </c:pt>
                <c:pt idx="4">
                  <c:v>0.5695338697659201</c:v>
                </c:pt>
                <c:pt idx="5">
                  <c:v>0.10787061450752936</c:v>
                </c:pt>
                <c:pt idx="6">
                  <c:v>0.0301112986698925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3253304601556915</c:v>
                </c:pt>
                <c:pt idx="4">
                  <c:v>0.862817425129608</c:v>
                </c:pt>
                <c:pt idx="5">
                  <c:v>0.093366044849054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244581526303865</c:v>
                </c:pt>
                <c:pt idx="1">
                  <c:v>0.13194345924355352</c:v>
                </c:pt>
                <c:pt idx="2">
                  <c:v>0.019551950596549565</c:v>
                </c:pt>
                <c:pt idx="3">
                  <c:v>0.39058342036370747</c:v>
                </c:pt>
                <c:pt idx="4">
                  <c:v>0.44053261070710614</c:v>
                </c:pt>
                <c:pt idx="5">
                  <c:v>0.0156641009364530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318942391174119</c:v>
                </c:pt>
                <c:pt idx="2">
                  <c:v>0.055137933884248834</c:v>
                </c:pt>
                <c:pt idx="3">
                  <c:v>0.03473668652662813</c:v>
                </c:pt>
                <c:pt idx="4">
                  <c:v>0.06767013652507513</c:v>
                </c:pt>
                <c:pt idx="5">
                  <c:v>0.0134782884252529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031289228933701</c:v>
                </c:pt>
                <c:pt idx="2">
                  <c:v>0.04113774758224254</c:v>
                </c:pt>
                <c:pt idx="3">
                  <c:v>0.3135524160400494</c:v>
                </c:pt>
                <c:pt idx="4">
                  <c:v>0.5522086271420409</c:v>
                </c:pt>
                <c:pt idx="5">
                  <c:v>0.062771316427937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546000868461034</c:v>
                </c:pt>
                <c:pt idx="1">
                  <c:v>0.00791278513556478</c:v>
                </c:pt>
                <c:pt idx="2">
                  <c:v>0.09883345181438238</c:v>
                </c:pt>
                <c:pt idx="3">
                  <c:v>0.1141714758048413</c:v>
                </c:pt>
                <c:pt idx="4">
                  <c:v>0.38273698753851865</c:v>
                </c:pt>
                <c:pt idx="5">
                  <c:v>0.393290699619846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65385076760837</c:v>
                </c:pt>
                <c:pt idx="1">
                  <c:v>0.06769019309011845</c:v>
                </c:pt>
                <c:pt idx="2">
                  <c:v>0.2155827171638198</c:v>
                </c:pt>
                <c:pt idx="3">
                  <c:v>0.48406983154121125</c:v>
                </c:pt>
                <c:pt idx="4">
                  <c:v>0.20698825809317256</c:v>
                </c:pt>
                <c:pt idx="5">
                  <c:v>0.010503615034917101</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644989121223041</c:v>
                </c:pt>
                <c:pt idx="3">
                  <c:v>0.0017075224275874532</c:v>
                </c:pt>
                <c:pt idx="4">
                  <c:v>0.006308679819343283</c:v>
                </c:pt>
                <c:pt idx="5">
                  <c:v>0.00313466174943846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854810004802424</c:v>
                </c:pt>
                <c:pt idx="2">
                  <c:v>0.06537184466726872</c:v>
                </c:pt>
                <c:pt idx="3">
                  <c:v>0.1828590572542862</c:v>
                </c:pt>
                <c:pt idx="4">
                  <c:v>0.5880937669185049</c:v>
                </c:pt>
                <c:pt idx="5">
                  <c:v>0.1576957924175024</c:v>
                </c:pt>
                <c:pt idx="6">
                  <c:v>0.0039705354657473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1365210675183357</c:v>
                </c:pt>
                <c:pt idx="2">
                  <c:v>0.004849806229544707</c:v>
                </c:pt>
                <c:pt idx="3">
                  <c:v>0.030614134196544008</c:v>
                </c:pt>
                <c:pt idx="4">
                  <c:v>0.890216997399391</c:v>
                </c:pt>
                <c:pt idx="5">
                  <c:v>0.07281595130021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51968708637001</c:v>
                </c:pt>
                <c:pt idx="1">
                  <c:v>0.15610494674537898</c:v>
                </c:pt>
                <c:pt idx="2">
                  <c:v>0.024983151768837048</c:v>
                </c:pt>
                <c:pt idx="3">
                  <c:v>0.3324132269959514</c:v>
                </c:pt>
                <c:pt idx="4">
                  <c:v>0.44155358609005096</c:v>
                </c:pt>
                <c:pt idx="5">
                  <c:v>0.01542199906740249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7044196561462505</c:v>
                </c:pt>
                <c:pt idx="2">
                  <c:v>0.217137692707676</c:v>
                </c:pt>
                <c:pt idx="3">
                  <c:v>0.1276742657727075</c:v>
                </c:pt>
                <c:pt idx="4">
                  <c:v>0.26640736095684486</c:v>
                </c:pt>
                <c:pt idx="5">
                  <c:v>0.2176558469385782</c:v>
                </c:pt>
                <c:pt idx="6">
                  <c:v>0.00068194524330137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3883172631490734</c:v>
                </c:pt>
                <c:pt idx="2">
                  <c:v>0.0685733513406976</c:v>
                </c:pt>
                <c:pt idx="3">
                  <c:v>0.008519953373459404</c:v>
                </c:pt>
                <c:pt idx="4">
                  <c:v>0.08527918524100789</c:v>
                </c:pt>
                <c:pt idx="5">
                  <c:v>0.018039325530002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086666246411881</c:v>
                </c:pt>
                <c:pt idx="2">
                  <c:v>0.045633021875691224</c:v>
                </c:pt>
                <c:pt idx="3">
                  <c:v>0.26062695908238875</c:v>
                </c:pt>
                <c:pt idx="4">
                  <c:v>0.5938757410843922</c:v>
                </c:pt>
                <c:pt idx="5">
                  <c:v>0.058987456109473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2354420050404</c:v>
                </c:pt>
                <c:pt idx="1">
                  <c:v>0.0018876754315294744</c:v>
                </c:pt>
                <c:pt idx="2">
                  <c:v>0.09224108918713539</c:v>
                </c:pt>
                <c:pt idx="3">
                  <c:v>0.11466792141021989</c:v>
                </c:pt>
                <c:pt idx="4">
                  <c:v>0.44252273603449555</c:v>
                </c:pt>
                <c:pt idx="5">
                  <c:v>0.344318223516569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36538655618517</c:v>
                </c:pt>
                <c:pt idx="1">
                  <c:v>0.04605500468565433</c:v>
                </c:pt>
                <c:pt idx="2">
                  <c:v>0.19655397261270163</c:v>
                </c:pt>
                <c:pt idx="3">
                  <c:v>0.4990306345942146</c:v>
                </c:pt>
                <c:pt idx="4">
                  <c:v>0.2321074461869639</c:v>
                </c:pt>
                <c:pt idx="5">
                  <c:v>0.0138875553642803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9202668363358737</c:v>
                </c:pt>
                <c:pt idx="2">
                  <c:v>0.0890529308105966</c:v>
                </c:pt>
                <c:pt idx="3">
                  <c:v>0.14613885589858222</c:v>
                </c:pt>
                <c:pt idx="4">
                  <c:v>0.5664460395056516</c:v>
                </c:pt>
                <c:pt idx="5">
                  <c:v>0.19549927143426438</c:v>
                </c:pt>
                <c:pt idx="6">
                  <c:v>0.00081053550458520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976686502865877</c:v>
                </c:pt>
                <c:pt idx="1">
                  <c:v>0.0014491880932194251</c:v>
                </c:pt>
                <c:pt idx="2">
                  <c:v>0.004457696094131803</c:v>
                </c:pt>
                <c:pt idx="3">
                  <c:v>0.03027714526455764</c:v>
                </c:pt>
                <c:pt idx="4">
                  <c:v>0.8383955071465904</c:v>
                </c:pt>
                <c:pt idx="5">
                  <c:v>0.12472279475121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295936018988206</c:v>
                </c:pt>
                <c:pt idx="1">
                  <c:v>0.1593720711737192</c:v>
                </c:pt>
                <c:pt idx="2">
                  <c:v>0.03768448825783814</c:v>
                </c:pt>
                <c:pt idx="3">
                  <c:v>0.2611292142986364</c:v>
                </c:pt>
                <c:pt idx="4">
                  <c:v>0.46450291190561643</c:v>
                </c:pt>
                <c:pt idx="5">
                  <c:v>0.01435125678176883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902539055901118</c:v>
                </c:pt>
                <c:pt idx="2">
                  <c:v>0.19501182742892956</c:v>
                </c:pt>
                <c:pt idx="3">
                  <c:v>0.19221661010637114</c:v>
                </c:pt>
                <c:pt idx="4">
                  <c:v>0.330662738462675</c:v>
                </c:pt>
                <c:pt idx="5">
                  <c:v>0.182706481481457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902539055901118</c:v>
                </c:pt>
                <c:pt idx="2">
                  <c:v>0.06450832288352</c:v>
                </c:pt>
                <c:pt idx="3">
                  <c:v>0.0277842525331899</c:v>
                </c:pt>
                <c:pt idx="4">
                  <c:v>0.09874369385147747</c:v>
                </c:pt>
                <c:pt idx="5">
                  <c:v>0.00602141315008691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4731325297527232</c:v>
                </c:pt>
                <c:pt idx="2">
                  <c:v>0.06817713002383922</c:v>
                </c:pt>
                <c:pt idx="3">
                  <c:v>0.30918181313914184</c:v>
                </c:pt>
                <c:pt idx="4">
                  <c:v>0.5489585060174869</c:v>
                </c:pt>
                <c:pt idx="5">
                  <c:v>0.0588440231994877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682222764157067</c:v>
                </c:pt>
                <c:pt idx="1">
                  <c:v>0.0007894530589861859</c:v>
                </c:pt>
                <c:pt idx="2">
                  <c:v>0.09025210318535143</c:v>
                </c:pt>
                <c:pt idx="3">
                  <c:v>0.1171313557101295</c:v>
                </c:pt>
                <c:pt idx="4">
                  <c:v>0.3902805199785044</c:v>
                </c:pt>
                <c:pt idx="5">
                  <c:v>0.40047834579061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5301996601009916</c:v>
                </c:pt>
                <c:pt idx="1">
                  <c:v>0.07112602587893538</c:v>
                </c:pt>
                <c:pt idx="2">
                  <c:v>0.23033524417359652</c:v>
                </c:pt>
                <c:pt idx="3">
                  <c:v>0.46134285060537805</c:v>
                </c:pt>
                <c:pt idx="4">
                  <c:v>0.197167325280257</c:v>
                </c:pt>
                <c:pt idx="5">
                  <c:v>0.01472655746082315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2942843330246545</c:v>
                </c:pt>
                <c:pt idx="2">
                  <c:v>0.09750663945696489</c:v>
                </c:pt>
                <c:pt idx="3">
                  <c:v>0.19168329326666833</c:v>
                </c:pt>
                <c:pt idx="4">
                  <c:v>0.5695338697659201</c:v>
                </c:pt>
                <c:pt idx="5">
                  <c:v>0.10787061450752936</c:v>
                </c:pt>
                <c:pt idx="6">
                  <c:v>0.0301112986698925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3253304601556915</c:v>
                </c:pt>
                <c:pt idx="4">
                  <c:v>0.862817425129608</c:v>
                </c:pt>
                <c:pt idx="5">
                  <c:v>0.093366044849054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244581526303865</c:v>
                </c:pt>
                <c:pt idx="1">
                  <c:v>0.13194345924355352</c:v>
                </c:pt>
                <c:pt idx="2">
                  <c:v>0.019551950596549565</c:v>
                </c:pt>
                <c:pt idx="3">
                  <c:v>0.39058342036370747</c:v>
                </c:pt>
                <c:pt idx="4">
                  <c:v>0.44053261070710614</c:v>
                </c:pt>
                <c:pt idx="5">
                  <c:v>0.0156641009364530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782224827956412</c:v>
                </c:pt>
                <c:pt idx="2">
                  <c:v>0.2303775653697803</c:v>
                </c:pt>
                <c:pt idx="3">
                  <c:v>0.15277992519657807</c:v>
                </c:pt>
                <c:pt idx="4">
                  <c:v>0.33557307572696826</c:v>
                </c:pt>
                <c:pt idx="5">
                  <c:v>0.173092898644482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031289228933701</c:v>
                </c:pt>
                <c:pt idx="2">
                  <c:v>0.04113774758224254</c:v>
                </c:pt>
                <c:pt idx="3">
                  <c:v>0.3135524160400494</c:v>
                </c:pt>
                <c:pt idx="4">
                  <c:v>0.5522086271420409</c:v>
                </c:pt>
                <c:pt idx="5">
                  <c:v>0.062771316427937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011055399856943</c:v>
                </c:pt>
                <c:pt idx="4">
                  <c:v>0.06841796762062685</c:v>
                </c:pt>
                <c:pt idx="5">
                  <c:v>0.01604113738252666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546000868461034</c:v>
                </c:pt>
                <c:pt idx="1">
                  <c:v>0.00791278513556478</c:v>
                </c:pt>
                <c:pt idx="2">
                  <c:v>0.09883345181438238</c:v>
                </c:pt>
                <c:pt idx="3">
                  <c:v>0.1141714758048413</c:v>
                </c:pt>
                <c:pt idx="4">
                  <c:v>0.38273698753851865</c:v>
                </c:pt>
                <c:pt idx="5">
                  <c:v>0.393290699619846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121572724597649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65385076760837</c:v>
                </c:pt>
                <c:pt idx="1">
                  <c:v>0.06769019309011845</c:v>
                </c:pt>
                <c:pt idx="2">
                  <c:v>0.2155827171638198</c:v>
                </c:pt>
                <c:pt idx="3">
                  <c:v>0.48406983154121125</c:v>
                </c:pt>
                <c:pt idx="4">
                  <c:v>0.20698825809317256</c:v>
                </c:pt>
                <c:pt idx="5">
                  <c:v>0.010503615034917101</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854810004802424</c:v>
                </c:pt>
                <c:pt idx="2">
                  <c:v>0.06537184466726872</c:v>
                </c:pt>
                <c:pt idx="3">
                  <c:v>0.1828590572542862</c:v>
                </c:pt>
                <c:pt idx="4">
                  <c:v>0.5880937669185049</c:v>
                </c:pt>
                <c:pt idx="5">
                  <c:v>0.1576957924175024</c:v>
                </c:pt>
                <c:pt idx="6">
                  <c:v>0.0039705354657473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6</c:v>
                </c:pt>
                <c:pt idx="1">
                  <c:v>0.07372302786498092</c:v>
                </c:pt>
                <c:pt idx="2">
                  <c:v>0.12766201692065168</c:v>
                </c:pt>
                <c:pt idx="3">
                  <c:v>0.23425237068395854</c:v>
                </c:pt>
                <c:pt idx="4">
                  <c:v>0.3827873306191498</c:v>
                </c:pt>
                <c:pt idx="5">
                  <c:v>0.15359411735454917</c:v>
                </c:pt>
                <c:pt idx="6">
                  <c:v>0.00086017315089557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1365210675183357</c:v>
                </c:pt>
                <c:pt idx="2">
                  <c:v>0.004849806229544707</c:v>
                </c:pt>
                <c:pt idx="3">
                  <c:v>0.030614134196544008</c:v>
                </c:pt>
                <c:pt idx="4">
                  <c:v>0.890216997399391</c:v>
                </c:pt>
                <c:pt idx="5">
                  <c:v>0.072815951300215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51968708637001</c:v>
                </c:pt>
                <c:pt idx="1">
                  <c:v>0.15610494674537898</c:v>
                </c:pt>
                <c:pt idx="2">
                  <c:v>0.024983151768837048</c:v>
                </c:pt>
                <c:pt idx="3">
                  <c:v>0.3324132269959514</c:v>
                </c:pt>
                <c:pt idx="4">
                  <c:v>0.44155358609005096</c:v>
                </c:pt>
                <c:pt idx="5">
                  <c:v>0.01542199906740249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7044196561462505</c:v>
                </c:pt>
                <c:pt idx="2">
                  <c:v>0.217137692707676</c:v>
                </c:pt>
                <c:pt idx="3">
                  <c:v>0.1276742657727075</c:v>
                </c:pt>
                <c:pt idx="4">
                  <c:v>0.26640736095684486</c:v>
                </c:pt>
                <c:pt idx="5">
                  <c:v>0.2176558469385782</c:v>
                </c:pt>
                <c:pt idx="6">
                  <c:v>0.000681945243301377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086666246411881</c:v>
                </c:pt>
                <c:pt idx="2">
                  <c:v>0.045633021875691224</c:v>
                </c:pt>
                <c:pt idx="3">
                  <c:v>0.26062695908238875</c:v>
                </c:pt>
                <c:pt idx="4">
                  <c:v>0.5938757410843922</c:v>
                </c:pt>
                <c:pt idx="5">
                  <c:v>0.058987456109473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6490751229639497</c:v>
                </c:pt>
                <c:pt idx="2">
                  <c:v>0.003840420909758176</c:v>
                </c:pt>
                <c:pt idx="3">
                  <c:v>0.0025127442394987094</c:v>
                </c:pt>
                <c:pt idx="4">
                  <c:v>0.005379098018495535</c:v>
                </c:pt>
                <c:pt idx="5">
                  <c:v>0.000938778388119468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0414795047385217</c:v>
                </c:pt>
                <c:pt idx="4">
                  <c:v>0.07340172764031956</c:v>
                </c:pt>
                <c:pt idx="5">
                  <c:v>0.01527106411326292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62354420050404</c:v>
                </c:pt>
                <c:pt idx="1">
                  <c:v>0.0018876754315294744</c:v>
                </c:pt>
                <c:pt idx="2">
                  <c:v>0.09224108918713539</c:v>
                </c:pt>
                <c:pt idx="3">
                  <c:v>0.11466792141021989</c:v>
                </c:pt>
                <c:pt idx="4">
                  <c:v>0.44252273603449555</c:v>
                </c:pt>
                <c:pt idx="5">
                  <c:v>0.344318223516569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67055189224631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236538655618517</c:v>
                </c:pt>
                <c:pt idx="1">
                  <c:v>0.04605500468565433</c:v>
                </c:pt>
                <c:pt idx="2">
                  <c:v>0.19655397261270163</c:v>
                </c:pt>
                <c:pt idx="3">
                  <c:v>0.4990306345942146</c:v>
                </c:pt>
                <c:pt idx="4">
                  <c:v>0.2321074461869639</c:v>
                </c:pt>
                <c:pt idx="5">
                  <c:v>0.01388755536428036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19202668363358737</c:v>
                </c:pt>
                <c:pt idx="2">
                  <c:v>0.0890529308105966</c:v>
                </c:pt>
                <c:pt idx="3">
                  <c:v>0.14613885589858222</c:v>
                </c:pt>
                <c:pt idx="4">
                  <c:v>0.5664460395056516</c:v>
                </c:pt>
                <c:pt idx="5">
                  <c:v>0.19549927143426438</c:v>
                </c:pt>
                <c:pt idx="6">
                  <c:v>0.000810535504585202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976686502865877</c:v>
                </c:pt>
                <c:pt idx="1">
                  <c:v>0.0014491880932194251</c:v>
                </c:pt>
                <c:pt idx="2">
                  <c:v>0.004457696094131803</c:v>
                </c:pt>
                <c:pt idx="3">
                  <c:v>0.03027714526455764</c:v>
                </c:pt>
                <c:pt idx="4">
                  <c:v>0.8383955071465904</c:v>
                </c:pt>
                <c:pt idx="5">
                  <c:v>0.1247227947512141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6295936018988206</c:v>
                </c:pt>
                <c:pt idx="1">
                  <c:v>0.1593720711737192</c:v>
                </c:pt>
                <c:pt idx="2">
                  <c:v>0.03768448825783814</c:v>
                </c:pt>
                <c:pt idx="3">
                  <c:v>0.2611292142986364</c:v>
                </c:pt>
                <c:pt idx="4">
                  <c:v>0.46450291190561643</c:v>
                </c:pt>
                <c:pt idx="5">
                  <c:v>0.01435125678176883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902539055901118</c:v>
                </c:pt>
                <c:pt idx="2">
                  <c:v>0.19501182742892956</c:v>
                </c:pt>
                <c:pt idx="3">
                  <c:v>0.19221661010637114</c:v>
                </c:pt>
                <c:pt idx="4">
                  <c:v>0.330662738462675</c:v>
                </c:pt>
                <c:pt idx="5">
                  <c:v>0.1827064814814571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4731325297527232</c:v>
                </c:pt>
                <c:pt idx="2">
                  <c:v>0.06817713002383922</c:v>
                </c:pt>
                <c:pt idx="3">
                  <c:v>0.30918181313914184</c:v>
                </c:pt>
                <c:pt idx="4">
                  <c:v>0.5489585060174869</c:v>
                </c:pt>
                <c:pt idx="5">
                  <c:v>0.0588440231994877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641435018604366</c:v>
                </c:pt>
                <c:pt idx="4">
                  <c:v>0.0862603146053981</c:v>
                </c:pt>
                <c:pt idx="5">
                  <c:v>0.02476167350140678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682222764157067</c:v>
                </c:pt>
                <c:pt idx="1">
                  <c:v>0.0007894530589861859</c:v>
                </c:pt>
                <c:pt idx="2">
                  <c:v>0.09025210318535143</c:v>
                </c:pt>
                <c:pt idx="3">
                  <c:v>0.1171313557101295</c:v>
                </c:pt>
                <c:pt idx="4">
                  <c:v>0.3902805199785044</c:v>
                </c:pt>
                <c:pt idx="5">
                  <c:v>0.40047834579061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474430728606346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5301996601009916</c:v>
                </c:pt>
                <c:pt idx="1">
                  <c:v>0.07112602587893538</c:v>
                </c:pt>
                <c:pt idx="2">
                  <c:v>0.23033524417359652</c:v>
                </c:pt>
                <c:pt idx="3">
                  <c:v>0.46134285060537805</c:v>
                </c:pt>
                <c:pt idx="4">
                  <c:v>0.197167325280257</c:v>
                </c:pt>
                <c:pt idx="5">
                  <c:v>0.01472655746082315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2942843330246545</c:v>
                </c:pt>
                <c:pt idx="2">
                  <c:v>0.09750663945696489</c:v>
                </c:pt>
                <c:pt idx="3">
                  <c:v>0.19168329326666833</c:v>
                </c:pt>
                <c:pt idx="4">
                  <c:v>0.5695338697659201</c:v>
                </c:pt>
                <c:pt idx="5">
                  <c:v>0.10787061450752936</c:v>
                </c:pt>
                <c:pt idx="6">
                  <c:v>0.0301112986698925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3253304601556915</c:v>
                </c:pt>
                <c:pt idx="4">
                  <c:v>0.862817425129608</c:v>
                </c:pt>
                <c:pt idx="5">
                  <c:v>0.093366044849054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244581526303865</c:v>
                </c:pt>
                <c:pt idx="1">
                  <c:v>0.13194345924355352</c:v>
                </c:pt>
                <c:pt idx="2">
                  <c:v>0.019551950596549565</c:v>
                </c:pt>
                <c:pt idx="3">
                  <c:v>0.39058342036370747</c:v>
                </c:pt>
                <c:pt idx="4">
                  <c:v>0.44053261070710614</c:v>
                </c:pt>
                <c:pt idx="5">
                  <c:v>0.01566410093645301</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5</c:v>
                </c:pt>
                <c:pt idx="1">
                  <c:v>0.06993622107254861</c:v>
                </c:pt>
                <c:pt idx="2">
                  <c:v>0.12263839292931009</c:v>
                </c:pt>
                <c:pt idx="3">
                  <c:v>0.22587718069519325</c:v>
                </c:pt>
                <c:pt idx="4">
                  <c:v>0.3926880605000298</c:v>
                </c:pt>
                <c:pt idx="5">
                  <c:v>0.159579798639448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0812154895849335</c:v>
                </c:pt>
                <c:pt idx="2">
                  <c:v>0.0053404629914445435</c:v>
                </c:pt>
                <c:pt idx="3">
                  <c:v>0.0007061419370462419</c:v>
                </c:pt>
                <c:pt idx="4">
                  <c:v>0.007958913973581195</c:v>
                </c:pt>
                <c:pt idx="5">
                  <c:v>0.0014048948826338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c:v>
                </c:pt>
                <c:pt idx="1">
                  <c:v>0.08802916312742415</c:v>
                </c:pt>
                <c:pt idx="2">
                  <c:v>0.14284168638962264</c:v>
                </c:pt>
                <c:pt idx="3">
                  <c:v>0.2219738465628237</c:v>
                </c:pt>
                <c:pt idx="4">
                  <c:v>0.36551887254863047</c:v>
                </c:pt>
                <c:pt idx="5">
                  <c:v>0.1485237048277909</c:v>
                </c:pt>
                <c:pt idx="6">
                  <c:v>0.00389079971904916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5358993245097792</c:v>
                </c:pt>
                <c:pt idx="2">
                  <c:v>0.003491020481048866</c:v>
                </c:pt>
                <c:pt idx="3">
                  <c:v>0.0015037313052086358</c:v>
                </c:pt>
                <c:pt idx="4">
                  <c:v>0.00534437721551502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712096340581416</c:v>
                </c:pt>
                <c:pt idx="1">
                  <c:v>0.07372302786498092</c:v>
                </c:pt>
                <c:pt idx="2">
                  <c:v>0.12766201692065168</c:v>
                </c:pt>
                <c:pt idx="3">
                  <c:v>0.23425237068395854</c:v>
                </c:pt>
                <c:pt idx="4">
                  <c:v>0.3827873306191498</c:v>
                </c:pt>
                <c:pt idx="5">
                  <c:v>0.15359411735454917</c:v>
                </c:pt>
                <c:pt idx="6">
                  <c:v>0.00086017315089557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7289708839215065</c:v>
                </c:pt>
                <c:pt idx="4">
                  <c:v>0.00622312909940783</c:v>
                </c:pt>
                <c:pt idx="5">
                  <c:v>0.0052927252421493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5</c:v>
                </c:pt>
                <c:pt idx="1">
                  <c:v>0.06993622107254861</c:v>
                </c:pt>
                <c:pt idx="2">
                  <c:v>0.12263839292931009</c:v>
                </c:pt>
                <c:pt idx="3">
                  <c:v>0.22587718069519325</c:v>
                </c:pt>
                <c:pt idx="4">
                  <c:v>0.3926880605000298</c:v>
                </c:pt>
                <c:pt idx="5">
                  <c:v>0.159579798639448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8658240570478485</c:v>
                </c:pt>
                <c:pt idx="4">
                  <c:v>0.007058938407149933</c:v>
                </c:pt>
                <c:pt idx="5">
                  <c:v>0.007065920710086652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22192682465894</c:v>
                </c:pt>
                <c:pt idx="1">
                  <c:v>0.08802916312742415</c:v>
                </c:pt>
                <c:pt idx="2">
                  <c:v>0.14284168638962264</c:v>
                </c:pt>
                <c:pt idx="3">
                  <c:v>0.2219738465628237</c:v>
                </c:pt>
                <c:pt idx="4">
                  <c:v>0.36551887254863047</c:v>
                </c:pt>
                <c:pt idx="5">
                  <c:v>0.1485237048277909</c:v>
                </c:pt>
                <c:pt idx="6">
                  <c:v>0.00389079971904916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575245525553756</c:v>
                </c:pt>
                <c:pt idx="4">
                  <c:v>0.006325081119195046</c:v>
                </c:pt>
                <c:pt idx="5">
                  <c:v>0.00598302653185496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7894799189421</c:v>
                </c:pt>
                <c:pt idx="1">
                  <c:v>0.038221977250803986</c:v>
                </c:pt>
                <c:pt idx="2">
                  <c:v>0.1280426136348649</c:v>
                </c:pt>
                <c:pt idx="3">
                  <c:v>0.2579541169363222</c:v>
                </c:pt>
                <c:pt idx="4">
                  <c:v>0.411492596077833</c:v>
                </c:pt>
                <c:pt idx="5">
                  <c:v>0.1586641888200512</c:v>
                </c:pt>
                <c:pt idx="6">
                  <c:v>0.000766612480935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385892535120031</c:v>
                </c:pt>
                <c:pt idx="3">
                  <c:v>0.0029915191407270925</c:v>
                </c:pt>
                <c:pt idx="4">
                  <c:v>0.011052584802033345</c:v>
                </c:pt>
                <c:pt idx="5">
                  <c:v>0.0054918169575081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546925599385</c:v>
                </c:pt>
                <c:pt idx="4">
                  <c:v>0.025019581296125446</c:v>
                </c:pt>
                <c:pt idx="5">
                  <c:v>0.4751189735737091</c:v>
                </c:pt>
                <c:pt idx="6">
                  <c:v>0.0021541883268715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3177561024199167</c:v>
                </c:pt>
                <c:pt idx="1">
                  <c:v>0.032027653167575096</c:v>
                </c:pt>
                <c:pt idx="2">
                  <c:v>0.0023524044420734705</c:v>
                </c:pt>
                <c:pt idx="3">
                  <c:v>0.38242026159328435</c:v>
                </c:pt>
                <c:pt idx="4">
                  <c:v>0.5674749628622517</c:v>
                </c:pt>
                <c:pt idx="5">
                  <c:v>0.01440696183239552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373416783754473</c:v>
                </c:pt>
                <c:pt idx="1">
                  <c:v>0.04045312405217708</c:v>
                </c:pt>
                <c:pt idx="2">
                  <c:v>0.12468065232928348</c:v>
                </c:pt>
                <c:pt idx="3">
                  <c:v>0.2406692975746519</c:v>
                </c:pt>
                <c:pt idx="4">
                  <c:v>0.4235016609865862</c:v>
                </c:pt>
                <c:pt idx="5">
                  <c:v>0.16609207976541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944876440793532</c:v>
                </c:pt>
                <c:pt idx="3">
                  <c:v>0.002441524269792252</c:v>
                </c:pt>
                <c:pt idx="4">
                  <c:v>0.010215575661117129</c:v>
                </c:pt>
                <c:pt idx="5">
                  <c:v>0.007630816424470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74049196231556</c:v>
                </c:pt>
                <c:pt idx="4">
                  <c:v>0.019066378237682903</c:v>
                </c:pt>
                <c:pt idx="5">
                  <c:v>0.4860729607088935</c:v>
                </c:pt>
                <c:pt idx="6">
                  <c:v>0.00745574143026797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7133835699403206</c:v>
                </c:pt>
                <c:pt idx="1">
                  <c:v>0.019618191826917</c:v>
                </c:pt>
                <c:pt idx="2">
                  <c:v>0.0007402755160323117</c:v>
                </c:pt>
                <c:pt idx="3">
                  <c:v>0.3297295060960825</c:v>
                </c:pt>
                <c:pt idx="4">
                  <c:v>0.6455594961322717</c:v>
                </c:pt>
                <c:pt idx="5">
                  <c:v>0.00363914685875637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323993457447819</c:v>
                </c:pt>
                <c:pt idx="1">
                  <c:v>0.036253296017058956</c:v>
                </c:pt>
                <c:pt idx="2">
                  <c:v>0.1376689147191372</c:v>
                </c:pt>
                <c:pt idx="3">
                  <c:v>0.2654072694888866</c:v>
                </c:pt>
                <c:pt idx="4">
                  <c:v>0.40285776763256737</c:v>
                </c:pt>
                <c:pt idx="5">
                  <c:v>0.1452495552014449</c:v>
                </c:pt>
                <c:pt idx="6">
                  <c:v>0.005239203483457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889944398043435</c:v>
                </c:pt>
                <c:pt idx="1">
                  <c:v>0.06993622107254861</c:v>
                </c:pt>
                <c:pt idx="2">
                  <c:v>0.12263839292931009</c:v>
                </c:pt>
                <c:pt idx="3">
                  <c:v>0.22587718069519325</c:v>
                </c:pt>
                <c:pt idx="4">
                  <c:v>0.3926880605000298</c:v>
                </c:pt>
                <c:pt idx="5">
                  <c:v>0.1595797986394480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994781185856843</c:v>
                </c:pt>
                <c:pt idx="3">
                  <c:v>0.004501914675469937</c:v>
                </c:pt>
                <c:pt idx="4">
                  <c:v>0.011810000886941539</c:v>
                </c:pt>
                <c:pt idx="5">
                  <c:v>0.00671305677344086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5155301481157091</c:v>
                </c:pt>
                <c:pt idx="4">
                  <c:v>0.03188640169921914</c:v>
                </c:pt>
                <c:pt idx="5">
                  <c:v>0.4525834501850718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8965406986938915</c:v>
                </c:pt>
                <c:pt idx="1">
                  <c:v>0.04895259664109439</c:v>
                </c:pt>
                <c:pt idx="2">
                  <c:v>0.002253973688354901</c:v>
                </c:pt>
                <c:pt idx="3">
                  <c:v>0.4750172003568851</c:v>
                </c:pt>
                <c:pt idx="4">
                  <c:v>0.4559770023859208</c:v>
                </c:pt>
                <c:pt idx="5">
                  <c:v>0.01590268622905085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857894799189421</c:v>
                </c:pt>
                <c:pt idx="1">
                  <c:v>0.038221977250803986</c:v>
                </c:pt>
                <c:pt idx="2">
                  <c:v>0.1280426136348649</c:v>
                </c:pt>
                <c:pt idx="3">
                  <c:v>0.2579541169363222</c:v>
                </c:pt>
                <c:pt idx="4">
                  <c:v>0.411492596077833</c:v>
                </c:pt>
                <c:pt idx="5">
                  <c:v>0.1586641888200512</c:v>
                </c:pt>
                <c:pt idx="6">
                  <c:v>0.000766612480935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1371567498881352</c:v>
                </c:pt>
                <c:pt idx="2">
                  <c:v>0.00672828214398474</c:v>
                </c:pt>
                <c:pt idx="3">
                  <c:v>0.004238791903029093</c:v>
                </c:pt>
                <c:pt idx="4">
                  <c:v>0.008257541390986695</c:v>
                </c:pt>
                <c:pt idx="5">
                  <c:v>0.00164470666480688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73546925599385</c:v>
                </c:pt>
                <c:pt idx="4">
                  <c:v>0.025019581296125446</c:v>
                </c:pt>
                <c:pt idx="5">
                  <c:v>0.4751189735737091</c:v>
                </c:pt>
                <c:pt idx="6">
                  <c:v>0.00215418832687153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43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20424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176370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808138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059672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855154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975367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5628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053184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079216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771053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79685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0748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592297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559168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630963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157622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387810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467919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418018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784363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83141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82893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960447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93106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265763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9170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243815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973133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91020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72199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0355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5619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79276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2410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66584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3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